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4"/>
  </p:notesMasterIdLst>
  <p:handoutMasterIdLst>
    <p:handoutMasterId r:id="rId85"/>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45" r:id="rId20"/>
    <p:sldId id="532" r:id="rId21"/>
    <p:sldId id="276" r:id="rId22"/>
    <p:sldId id="275" r:id="rId23"/>
    <p:sldId id="274" r:id="rId24"/>
    <p:sldId id="277" r:id="rId25"/>
    <p:sldId id="279" r:id="rId26"/>
    <p:sldId id="297" r:id="rId27"/>
    <p:sldId id="278" r:id="rId28"/>
    <p:sldId id="300" r:id="rId29"/>
    <p:sldId id="316" r:id="rId30"/>
    <p:sldId id="334" r:id="rId31"/>
    <p:sldId id="335" r:id="rId32"/>
    <p:sldId id="544" r:id="rId33"/>
    <p:sldId id="533" r:id="rId34"/>
    <p:sldId id="280" r:id="rId35"/>
    <p:sldId id="281" r:id="rId36"/>
    <p:sldId id="320" r:id="rId37"/>
    <p:sldId id="304" r:id="rId38"/>
    <p:sldId id="305" r:id="rId39"/>
    <p:sldId id="282" r:id="rId40"/>
    <p:sldId id="283" r:id="rId41"/>
    <p:sldId id="302" r:id="rId42"/>
    <p:sldId id="284" r:id="rId43"/>
    <p:sldId id="303" r:id="rId44"/>
    <p:sldId id="285" r:id="rId45"/>
    <p:sldId id="286" r:id="rId46"/>
    <p:sldId id="287" r:id="rId47"/>
    <p:sldId id="288" r:id="rId48"/>
    <p:sldId id="301" r:id="rId49"/>
    <p:sldId id="330" r:id="rId50"/>
    <p:sldId id="289" r:id="rId51"/>
    <p:sldId id="290" r:id="rId52"/>
    <p:sldId id="291" r:id="rId53"/>
    <p:sldId id="292" r:id="rId54"/>
    <p:sldId id="293" r:id="rId55"/>
    <p:sldId id="296" r:id="rId56"/>
    <p:sldId id="298" r:id="rId57"/>
    <p:sldId id="299" r:id="rId58"/>
    <p:sldId id="307" r:id="rId59"/>
    <p:sldId id="309" r:id="rId60"/>
    <p:sldId id="310" r:id="rId61"/>
    <p:sldId id="312" r:id="rId62"/>
    <p:sldId id="313" r:id="rId63"/>
    <p:sldId id="314" r:id="rId64"/>
    <p:sldId id="315" r:id="rId65"/>
    <p:sldId id="327" r:id="rId66"/>
    <p:sldId id="328" r:id="rId67"/>
    <p:sldId id="329" r:id="rId68"/>
    <p:sldId id="331" r:id="rId69"/>
    <p:sldId id="336" r:id="rId70"/>
    <p:sldId id="337" r:id="rId71"/>
    <p:sldId id="338" r:id="rId72"/>
    <p:sldId id="534" r:id="rId73"/>
    <p:sldId id="535" r:id="rId74"/>
    <p:sldId id="536" r:id="rId75"/>
    <p:sldId id="537" r:id="rId76"/>
    <p:sldId id="538" r:id="rId77"/>
    <p:sldId id="539" r:id="rId78"/>
    <p:sldId id="540" r:id="rId79"/>
    <p:sldId id="541" r:id="rId80"/>
    <p:sldId id="542" r:id="rId81"/>
    <p:sldId id="543" r:id="rId82"/>
    <p:sldId id="317" r:id="rId8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45"/>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notesMaster" Target="notesMasters/notesMaster1.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1/17/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1/1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4</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3.xml"/><Relationship Id="rId5" Type="http://schemas.openxmlformats.org/officeDocument/2006/relationships/slide" Target="slide9.xml"/><Relationship Id="rId4" Type="http://schemas.openxmlformats.org/officeDocument/2006/relationships/slide" Target="slide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0.xml"/><Relationship Id="rId5" Type="http://schemas.openxmlformats.org/officeDocument/2006/relationships/slide" Target="slide9.xml"/><Relationship Id="rId4" Type="http://schemas.openxmlformats.org/officeDocument/2006/relationships/slide" Target="slide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10]</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60043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b="1" dirty="0"/>
                <a:t>ZERO=NO </a:t>
              </a:r>
              <a:r>
                <a:rPr lang="fr-FR" sz="1400" dirty="0"/>
                <a:t>if </a:t>
              </a:r>
              <a:r>
                <a:rPr lang="fr-FR" sz="1400" dirty="0" err="1"/>
                <a:t>you</a:t>
              </a:r>
              <a:r>
                <a:rPr lang="fr-FR" sz="1400" dirty="0"/>
                <a:t> do not </a:t>
              </a:r>
              <a:r>
                <a:rPr lang="fr-FR" sz="1400" dirty="0" err="1"/>
                <a:t>want</a:t>
              </a:r>
              <a:r>
                <a:rPr lang="fr-FR" sz="1400" dirty="0"/>
                <a:t> to </a:t>
              </a:r>
              <a:r>
                <a:rPr lang="fr-FR" sz="1400" dirty="0" err="1"/>
                <a:t>see</a:t>
              </a:r>
              <a:r>
                <a:rPr lang="fr-FR" sz="1400" dirty="0"/>
                <a:t> the </a:t>
              </a:r>
              <a:r>
                <a:rPr lang="fr-FR" sz="1400" dirty="0" err="1"/>
                <a:t>functions</a:t>
              </a:r>
              <a:r>
                <a:rPr lang="fr-FR" sz="1400" dirty="0"/>
                <a:t> </a:t>
              </a:r>
              <a:r>
                <a:rPr lang="fr-FR" sz="1400" dirty="0" err="1"/>
                <a:t>that</a:t>
              </a:r>
              <a:r>
                <a:rPr lang="fr-FR" sz="1400" dirty="0"/>
                <a:t> have 0 FP (</a:t>
              </a:r>
              <a:r>
                <a:rPr lang="fr-FR" sz="1400" dirty="0" err="1"/>
                <a:t>displayed</a:t>
              </a:r>
              <a:r>
                <a:rPr lang="fr-FR" sz="1400" dirty="0"/>
                <a:t>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001</TotalTime>
  <Words>9297</Words>
  <Application>Microsoft Office PowerPoint</Application>
  <PresentationFormat>Widescreen</PresentationFormat>
  <Paragraphs>2324</Paragraphs>
  <Slides>82</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2</vt:i4>
      </vt:variant>
    </vt:vector>
  </HeadingPairs>
  <TitlesOfParts>
    <vt:vector size="95"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PowerPoint Templates – Text [10]</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48</cp:revision>
  <dcterms:created xsi:type="dcterms:W3CDTF">2016-10-16T15:51:34Z</dcterms:created>
  <dcterms:modified xsi:type="dcterms:W3CDTF">2020-11-17T13:59:39Z</dcterms:modified>
</cp:coreProperties>
</file>